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3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323" r:id="rId10"/>
    <p:sldId id="294" r:id="rId11"/>
    <p:sldId id="296" r:id="rId12"/>
    <p:sldId id="295" r:id="rId13"/>
    <p:sldId id="297" r:id="rId14"/>
    <p:sldId id="298" r:id="rId15"/>
    <p:sldId id="299" r:id="rId16"/>
    <p:sldId id="300" r:id="rId17"/>
    <p:sldId id="301" r:id="rId18"/>
    <p:sldId id="312" r:id="rId19"/>
    <p:sldId id="313" r:id="rId20"/>
    <p:sldId id="324" r:id="rId21"/>
    <p:sldId id="325" r:id="rId22"/>
    <p:sldId id="326" r:id="rId23"/>
    <p:sldId id="327" r:id="rId24"/>
    <p:sldId id="328" r:id="rId25"/>
    <p:sldId id="329" r:id="rId26"/>
    <p:sldId id="330" r:id="rId27"/>
    <p:sldId id="331" r:id="rId28"/>
    <p:sldId id="332" r:id="rId29"/>
    <p:sldId id="333" r:id="rId30"/>
    <p:sldId id="334" r:id="rId31"/>
    <p:sldId id="335" r:id="rId32"/>
    <p:sldId id="336" r:id="rId33"/>
    <p:sldId id="337" r:id="rId34"/>
    <p:sldId id="302" r:id="rId35"/>
    <p:sldId id="303" r:id="rId36"/>
    <p:sldId id="304" r:id="rId37"/>
    <p:sldId id="305" r:id="rId38"/>
    <p:sldId id="306" r:id="rId39"/>
    <p:sldId id="319" r:id="rId40"/>
    <p:sldId id="320" r:id="rId41"/>
    <p:sldId id="321" r:id="rId42"/>
    <p:sldId id="322" r:id="rId43"/>
    <p:sldId id="309" r:id="rId44"/>
    <p:sldId id="310" r:id="rId45"/>
    <p:sldId id="256" r:id="rId46"/>
  </p:sldIdLst>
  <p:sldSz cx="12193588" cy="6858000"/>
  <p:notesSz cx="7559675" cy="10691813"/>
  <p:custDataLst>
    <p:tags r:id="rId4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323"/>
            <p14:sldId id="294"/>
            <p14:sldId id="296"/>
            <p14:sldId id="295"/>
            <p14:sldId id="297"/>
            <p14:sldId id="298"/>
            <p14:sldId id="299"/>
            <p14:sldId id="300"/>
            <p14:sldId id="301"/>
            <p14:sldId id="312"/>
            <p14:sldId id="313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02"/>
            <p14:sldId id="303"/>
            <p14:sldId id="304"/>
            <p14:sldId id="305"/>
            <p14:sldId id="306"/>
            <p14:sldId id="319"/>
            <p14:sldId id="320"/>
            <p14:sldId id="321"/>
            <p14:sldId id="322"/>
            <p14:sldId id="309"/>
            <p14:sldId id="310"/>
            <p14:sldId id="256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martinfowler.com/bliki/HumbleObject.html" TargetMode="Externa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5583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BBD74FF-268A-45AA-AC4E-9259A32EEFB6}"/>
              </a:ext>
            </a:extLst>
          </p:cNvPr>
          <p:cNvSpPr txBox="1">
            <a:spLocks/>
          </p:cNvSpPr>
          <p:nvPr/>
        </p:nvSpPr>
        <p:spPr>
          <a:xfrm>
            <a:off x="7960794" y="3751720"/>
            <a:ext cx="4130934" cy="204476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ühre </a:t>
            </a:r>
            <a:r>
              <a:rPr lang="de-DE" kern="0" dirty="0" err="1"/>
              <a:t>seams</a:t>
            </a:r>
            <a:r>
              <a:rPr lang="de-DE" kern="0" dirty="0"/>
              <a:t> ein,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an diesen </a:t>
            </a:r>
            <a:r>
              <a:rPr lang="de-DE" sz="1600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ams</a:t>
            </a: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 Informationen für den Golden Master bereit gestellt werden können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„stabile“ Informationen von außen bereitgestell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Key </a:t>
            </a:r>
            <a:r>
              <a:rPr lang="de-DE" dirty="0" err="1"/>
              <a:t>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zu mach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,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969357"/>
          </a:xfrm>
        </p:spPr>
        <p:txBody>
          <a:bodyPr/>
          <a:lstStyle/>
          <a:p>
            <a:pPr lvl="0"/>
            <a:r>
              <a:rPr lang="en-US" dirty="0"/>
              <a:t>Golden Master und Characterization Test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Integration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hin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eu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358934"/>
          </a:xfrm>
        </p:spPr>
        <p:txBody>
          <a:bodyPr/>
          <a:lstStyle/>
          <a:p>
            <a:pPr lvl="0"/>
            <a:r>
              <a:rPr lang="de-DE" dirty="0"/>
              <a:t>Sortiere zusammenhänge Code Zeilen nahe zusammen</a:t>
            </a:r>
          </a:p>
          <a:p>
            <a:pPr lvl="0"/>
            <a:r>
              <a:rPr lang="de-DE" dirty="0"/>
              <a:t>Erkenne zusammenhänge Zeilen</a:t>
            </a:r>
          </a:p>
          <a:p>
            <a:pPr lvl="0"/>
            <a:r>
              <a:rPr lang="de-DE" dirty="0"/>
              <a:t>Extrahiere diese 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in der Klasse nicht </a:t>
            </a:r>
            <a:r>
              <a:rPr lang="de-DE" dirty="0">
                <a:sym typeface="Wingdings" panose="05000000000000000000" pitchFamily="2" charset="2"/>
              </a:rPr>
              <a:t> überlege, ob diese Methoden in ein eigene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{</a:t>
            </a:r>
          </a:p>
          <a:p>
            <a:pPr algn="l"/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1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User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(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bil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fax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addre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1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1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1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create user "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1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  <a:endParaRPr lang="en-US" sz="11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extract-class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sind Konzep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nd zu viele Details?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feature Envy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Kollaboration zwischen Objekten ist gewollt, schließlich gestalten wir Klassen entsprechend (abstrakten) Konzepten zur Abstraktion und besseren Wiederverwendung.</a:t>
            </a:r>
          </a:p>
          <a:p>
            <a:pPr lvl="0"/>
            <a:r>
              <a:rPr lang="de-DE" dirty="0"/>
              <a:t>Wenn nun eine Klasse/Methode eine andere ständig Fragen muss, so wirft dies die Frage auf, ob diese korrekt </a:t>
            </a:r>
            <a:r>
              <a:rPr lang="de-DE" dirty="0" err="1"/>
              <a:t>designed</a:t>
            </a:r>
            <a:r>
              <a:rPr lang="de-DE" dirty="0"/>
              <a:t> wurd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Relevante Informationen zur Erledigung einer Aufgabe ist woanders beheimatet als dort wo diese gebraucht wir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Internas</a:t>
            </a:r>
            <a:r>
              <a:rPr lang="de-DE" dirty="0"/>
              <a:t> sind weithin sichtbar und implizit umfangreiche Änderungen</a:t>
            </a:r>
          </a:p>
          <a:p>
            <a:pPr lvl="0"/>
            <a:r>
              <a:rPr lang="de-DE" dirty="0"/>
              <a:t>Dies nennt man </a:t>
            </a:r>
            <a:r>
              <a:rPr lang="de-DE" b="1" dirty="0">
                <a:solidFill>
                  <a:schemeClr val="accent6"/>
                </a:solidFill>
              </a:rPr>
              <a:t>feature </a:t>
            </a:r>
            <a:r>
              <a:rPr lang="de-DE" b="1" dirty="0" err="1">
                <a:solidFill>
                  <a:schemeClr val="accent6"/>
                </a:solidFill>
              </a:rPr>
              <a:t>envy</a:t>
            </a:r>
            <a:r>
              <a:rPr lang="de-DE" b="1" dirty="0">
                <a:solidFill>
                  <a:schemeClr val="accent6"/>
                </a:solidFill>
              </a:rPr>
              <a:t> und macht Code sehr rigide und schwierig zu veränder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37451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Welcome to the cinema of Horror movies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User(18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Movie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ovie(</a:t>
            </a:r>
            <a:r>
              <a:rPr lang="en-US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Horror of the Code"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Walle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EntryFe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Rat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 visits 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feature-envy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7666181" y="2876355"/>
            <a:ext cx="4205995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eht man feature-</a:t>
            </a:r>
            <a:r>
              <a:rPr lang="de-DE" kern="0" dirty="0" err="1"/>
              <a:t>envy</a:t>
            </a:r>
            <a:r>
              <a:rPr lang="de-DE" kern="0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ie kann das gelöst werden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Prozess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Code?</a:t>
            </a:r>
          </a:p>
        </p:txBody>
      </p:sp>
    </p:spTree>
    <p:extLst>
      <p:ext uri="{BB962C8B-B14F-4D97-AF65-F5344CB8AC3E}">
        <p14:creationId xmlns:p14="http://schemas.microsoft.com/office/powerpoint/2010/main" val="13471761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517fe91..b51679a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11 +7,1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</a:t>
            </a:r>
            <a:r>
              <a:rPr lang="de-DE" kern="0" dirty="0" err="1"/>
              <a:t>am</a:t>
            </a:r>
            <a:r>
              <a:rPr lang="de-DE" kern="0" dirty="0"/>
              <a:t> Einführung vorbereit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pre-cursor to extract method.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ntroduced code is for now not-used, for now we want to have thos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changes non-invasive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4454678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b51679a..556f9f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8,16 +8,20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</a:t>
            </a:r>
            <a:r>
              <a:rPr lang="de-DE" kern="0" dirty="0" err="1"/>
              <a:t>am</a:t>
            </a:r>
            <a:r>
              <a:rPr lang="de-DE" kern="0" dirty="0"/>
              <a:t>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Create seam with extract method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This way, unit tests in the same package can query the core busines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logic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1003124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556f9fb..11541a9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5,7 +15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1f1e54b..fdec1d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6 +7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Shoul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access_to_old_peopl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.main(null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0, 1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ichtbarkeit anpass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Create seam with extract method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This way, unit tests in the same package can query the core busines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logic directly and verify proper behavior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36982869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fdec1db..d3a99a8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13 +1,1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import stat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import stat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impor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Tes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Shoul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access_to_old_peopl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.main(null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0, 1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Unittest 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rove unit test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 minimal-viable unit test. Normally, more tests are needed for a better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afety-net - for the purpose of this lecture unit, this single unit 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s barely-sufficient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1273148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11541a9..389248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6,8 +16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7f8a9d8..6c0e95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9,4 +19,9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String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"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"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feature-envy statement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tate the actual intent of the statement and implement stubs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4616376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new file mod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000000..a9a355d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/dev/null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0,0 +1,13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impor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java.math.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public class Money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final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val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final String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(String value, String currency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valu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1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8000415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ce792c..079ac8f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7,6 +17,10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12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new Money("12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String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nam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2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11194923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5d63a9..4646776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6 +1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Wallet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Money value = new Money("0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3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23772900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89248e..d72318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6,7 +16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6c0e95e..008e0dd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24,4 +24,9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Konzept Money verwend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Switch logic to use Money in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2624833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a9a355d..4d98e8f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0,4 +10,11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valu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(Money money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for immutable classes: rule construct your own copy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here: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and String is immutable and the assignment operator creates an independent copy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lasse Money für Verwendung vorbereit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copy Money</a:t>
            </a:r>
            <a:endParaRPr lang="de-DE" sz="1000" b="1" kern="0" dirty="0"/>
          </a:p>
        </p:txBody>
      </p:sp>
    </p:spTree>
    <p:extLst>
      <p:ext uri="{BB962C8B-B14F-4D97-AF65-F5344CB8AC3E}">
        <p14:creationId xmlns:p14="http://schemas.microsoft.com/office/powerpoint/2010/main" val="4121782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4646776..3358064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3,6 +3,13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Wallet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rivate Money value = new Money("0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Wallet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Wallet(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value = new Money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0;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Money in Wallet integrie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Wallet to fund with more than no money</a:t>
            </a:r>
            <a:endParaRPr lang="de-DE" sz="700" b="1" kern="0" dirty="0"/>
          </a:p>
        </p:txBody>
      </p:sp>
    </p:spTree>
    <p:extLst>
      <p:ext uri="{BB962C8B-B14F-4D97-AF65-F5344CB8AC3E}">
        <p14:creationId xmlns:p14="http://schemas.microsoft.com/office/powerpoint/2010/main" val="28814281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08e0dd..505e0cd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13 +1,18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User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rivate final Walle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Walle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rivate int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User(int ag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User(int age,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838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Nutzern die Möglichkeit geben eine unterschiedlich gefüllt Brieftasche zu geb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ies dient der Vorbereitung der Verbesserung der Unittest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User to have a non-empty Wallet</a:t>
            </a:r>
            <a:endParaRPr lang="de-DE" sz="400" b="1" kern="0" dirty="0"/>
          </a:p>
        </p:txBody>
      </p:sp>
    </p:spTree>
    <p:extLst>
      <p:ext uri="{BB962C8B-B14F-4D97-AF65-F5344CB8AC3E}">
        <p14:creationId xmlns:p14="http://schemas.microsoft.com/office/powerpoint/2010/main" val="9298885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d3a99a8..9bb7a02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3,4 +13,24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ny_entry_if_visitor_does_have_insufficient_fund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, new Money("20.00", "EUR"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TODO missing logic prevents from setting this test to active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Tr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Zwei Unittest hinzufüg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er zweite auskommentiert, weil die </a:t>
            </a:r>
            <a:r>
              <a:rPr lang="de-DE" kern="0" dirty="0" err="1"/>
              <a:t>Codeunterstüzung</a:t>
            </a:r>
            <a:r>
              <a:rPr lang="de-DE" kern="0" dirty="0"/>
              <a:t> noch fehlt – dieser ist nun Design-Richtlinie für den Cod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rove the safety-net by adding unit test</a:t>
            </a:r>
            <a:endParaRPr lang="de-DE" sz="200" b="1" kern="0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CC500896-617F-49DD-8DE0-552C1F03F077}"/>
              </a:ext>
            </a:extLst>
          </p:cNvPr>
          <p:cNvSpPr/>
          <p:nvPr/>
        </p:nvSpPr>
        <p:spPr>
          <a:xfrm>
            <a:off x="8640792" y="3225921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f937456</a:t>
            </a:r>
          </a:p>
        </p:txBody>
      </p:sp>
    </p:spTree>
    <p:extLst>
      <p:ext uri="{BB962C8B-B14F-4D97-AF65-F5344CB8AC3E}">
        <p14:creationId xmlns:p14="http://schemas.microsoft.com/office/powerpoint/2010/main" val="4037539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3678383" y="296569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ctr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>
                <a:solidFill>
                  <a:srgbClr val="000000"/>
                </a:solidFill>
                <a:latin typeface="Consolas" panose="020B0609020204030204" pitchFamily="49" charset="0"/>
              </a:rPr>
              <a:t>TODO continue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31744996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2" b="15262"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Code Coverage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Code Coverage Analyse/Darstellung zeigt, welcher Code zur Ausführung komm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Code wurde überhaupt nicht ausgeführt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wurde sehr häufig ausgeführt?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Aufwände</a:t>
            </a:r>
            <a:r>
              <a:rPr lang="de-DE" dirty="0"/>
              <a:t> für das Erstellen von Unittest </a:t>
            </a:r>
            <a:r>
              <a:rPr lang="de-DE" b="1" dirty="0">
                <a:solidFill>
                  <a:schemeClr val="accent6"/>
                </a:solidFill>
              </a:rPr>
              <a:t>zu lenk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gezielt</a:t>
            </a:r>
            <a:r>
              <a:rPr lang="de-DE" dirty="0"/>
              <a:t> </a:t>
            </a:r>
            <a:r>
              <a:rPr lang="de-DE" dirty="0" err="1"/>
              <a:t>refactoring</a:t>
            </a:r>
            <a:r>
              <a:rPr lang="de-DE" dirty="0"/>
              <a:t> </a:t>
            </a:r>
            <a:r>
              <a:rPr lang="de-DE" b="1" dirty="0">
                <a:solidFill>
                  <a:schemeClr val="accent6"/>
                </a:solidFill>
              </a:rPr>
              <a:t>zu planen und durchzuführe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Simple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oMag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&gt; 100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9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else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3 +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5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elche </a:t>
            </a:r>
            <a:r>
              <a:rPr lang="de-DE" kern="0" dirty="0" err="1"/>
              <a:t>branches</a:t>
            </a:r>
            <a:r>
              <a:rPr lang="de-DE" kern="0" dirty="0"/>
              <a:t> gibt 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iesen Code in die IDE abtip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en Code zur Ausführung br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Code Coverage Tool (ggf. in der IDE) aktivieren und die </a:t>
            </a:r>
            <a:r>
              <a:rPr lang="de-DE" kern="0" dirty="0" err="1"/>
              <a:t>branches</a:t>
            </a:r>
            <a:r>
              <a:rPr lang="de-DE" kern="0" dirty="0"/>
              <a:t> anschau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ehrere Unittest schreiben, welche alle </a:t>
            </a:r>
            <a:r>
              <a:rPr lang="de-DE" kern="0" dirty="0" err="1"/>
              <a:t>branches</a:t>
            </a:r>
            <a:r>
              <a:rPr lang="de-DE" kern="0" dirty="0"/>
              <a:t> abgedeckt sind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Lese die README.m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inde den kürzesten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chreibe hierfür einen Test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gehen, Vorteile und Nach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b="1" dirty="0"/>
              <a:t>Vor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Kürzester Branch zuerst </a:t>
            </a:r>
            <a:r>
              <a:rPr lang="de-DE" dirty="0">
                <a:sym typeface="Wingdings" panose="05000000000000000000" pitchFamily="2" charset="2"/>
              </a:rPr>
              <a:t> (normalerweise) einfachster Fall zuer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Es bietet sich ein „Fall nach Fall“ </a:t>
            </a:r>
            <a:r>
              <a:rPr lang="de-DE" dirty="0" err="1">
                <a:sym typeface="Wingdings" panose="05000000000000000000" pitchFamily="2" charset="2"/>
              </a:rPr>
              <a:t>refactoring</a:t>
            </a:r>
            <a:r>
              <a:rPr lang="de-DE" dirty="0">
                <a:sym typeface="Wingdings" panose="05000000000000000000" pitchFamily="2" charset="2"/>
              </a:rPr>
              <a:t> a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urch schreitweise Behandlung von Fällen vereinfacht sich der Code</a:t>
            </a:r>
          </a:p>
          <a:p>
            <a:pPr lvl="0"/>
            <a:r>
              <a:rPr lang="de-DE" b="1" dirty="0">
                <a:sym typeface="Wingdings" panose="05000000000000000000" pitchFamily="2" charset="2"/>
              </a:rPr>
              <a:t>Nach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Gegebenenfalls „zu“ komplex weil Implementierungsfehler und Implementierungsfreiheitsgrad übernommen werden, die fachlich nicht korrekt sind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ie gut ist unsere </a:t>
            </a:r>
            <a:r>
              <a:rPr lang="de-DE" dirty="0" err="1">
                <a:solidFill>
                  <a:schemeClr val="accent6"/>
                </a:solidFill>
              </a:rPr>
              <a:t>test</a:t>
            </a:r>
            <a:r>
              <a:rPr lang="de-DE" dirty="0">
                <a:solidFill>
                  <a:schemeClr val="accent6"/>
                </a:solidFill>
              </a:rPr>
              <a:t> </a:t>
            </a:r>
            <a:r>
              <a:rPr lang="de-DE" dirty="0" err="1">
                <a:solidFill>
                  <a:schemeClr val="accent6"/>
                </a:solidFill>
              </a:rPr>
              <a:t>suite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hohe Code Coverage ist kein Garant dafür, dass alle Fälle </a:t>
            </a:r>
            <a:r>
              <a:rPr lang="de-DE" dirty="0" err="1"/>
              <a:t>abgetest</a:t>
            </a:r>
            <a:r>
              <a:rPr lang="de-DE" dirty="0"/>
              <a:t> worden sind.</a:t>
            </a:r>
          </a:p>
          <a:p>
            <a:pPr lvl="0"/>
            <a:r>
              <a:rPr lang="de-DE" dirty="0"/>
              <a:t>Ein </a:t>
            </a:r>
            <a:r>
              <a:rPr lang="de-DE" b="1" dirty="0" err="1">
                <a:solidFill>
                  <a:schemeClr val="accent6"/>
                </a:solidFill>
              </a:rPr>
              <a:t>mutation</a:t>
            </a:r>
            <a:r>
              <a:rPr lang="de-DE" b="1" dirty="0">
                <a:solidFill>
                  <a:schemeClr val="accent6"/>
                </a:solidFill>
              </a:rPr>
              <a:t> </a:t>
            </a:r>
            <a:r>
              <a:rPr lang="de-DE" b="1" dirty="0" err="1">
                <a:solidFill>
                  <a:schemeClr val="accent6"/>
                </a:solidFill>
              </a:rPr>
              <a:t>testing</a:t>
            </a:r>
            <a:r>
              <a:rPr lang="de-DE" b="1" dirty="0">
                <a:solidFill>
                  <a:schemeClr val="accent6"/>
                </a:solidFill>
              </a:rPr>
              <a:t> </a:t>
            </a:r>
            <a:r>
              <a:rPr lang="de-DE" dirty="0"/>
              <a:t>Tool modifiziert den zu testenden Code und prüft, ob diese Modifikation (=Mutant) durch die Tests entdeckt worden sind. Falls nicht, überlebt der Mutant und wird gemeldet.</a:t>
            </a:r>
          </a:p>
          <a:p>
            <a:pPr lvl="0"/>
            <a:r>
              <a:rPr lang="de-DE" dirty="0"/>
              <a:t>Mit </a:t>
            </a:r>
            <a:r>
              <a:rPr lang="de-DE" dirty="0" err="1"/>
              <a:t>mutation</a:t>
            </a:r>
            <a:r>
              <a:rPr lang="de-DE" dirty="0"/>
              <a:t> </a:t>
            </a:r>
            <a:r>
              <a:rPr lang="de-DE" dirty="0" err="1"/>
              <a:t>testing</a:t>
            </a:r>
            <a:r>
              <a:rPr lang="de-DE" dirty="0"/>
              <a:t> wird der Abdeckungsgrad der Unittests überprüft.</a:t>
            </a:r>
          </a:p>
          <a:p>
            <a:pPr lvl="0"/>
            <a:r>
              <a:rPr lang="de-DE" dirty="0"/>
              <a:t>Wird üblicherweise bei </a:t>
            </a:r>
            <a:r>
              <a:rPr lang="de-DE" b="1" dirty="0">
                <a:solidFill>
                  <a:schemeClr val="accent6"/>
                </a:solidFill>
              </a:rPr>
              <a:t>sicherheitskritischen </a:t>
            </a:r>
            <a:r>
              <a:rPr lang="de-DE" b="1" dirty="0" err="1">
                <a:solidFill>
                  <a:schemeClr val="accent6"/>
                </a:solidFill>
              </a:rPr>
              <a:t>new</a:t>
            </a:r>
            <a:r>
              <a:rPr lang="de-DE" b="1" dirty="0">
                <a:solidFill>
                  <a:schemeClr val="accent6"/>
                </a:solidFill>
              </a:rPr>
              <a:t> code </a:t>
            </a:r>
            <a:r>
              <a:rPr lang="de-DE" dirty="0"/>
              <a:t>angewandt, weniger auf </a:t>
            </a:r>
            <a:r>
              <a:rPr lang="de-DE" dirty="0" err="1"/>
              <a:t>legacy</a:t>
            </a:r>
            <a:r>
              <a:rPr lang="de-DE" dirty="0"/>
              <a:t> code.</a:t>
            </a:r>
          </a:p>
        </p:txBody>
      </p:sp>
    </p:spTree>
    <p:extLst>
      <p:ext uri="{BB962C8B-B14F-4D97-AF65-F5344CB8AC3E}">
        <p14:creationId xmlns:p14="http://schemas.microsoft.com/office/powerpoint/2010/main" val="3449386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utation </a:t>
            </a:r>
            <a:r>
              <a:rPr lang="de-DE" dirty="0" err="1"/>
              <a:t>testing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buil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pitest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ite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-mave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1.6.7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ie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y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pitest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pitest-junit5-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0.14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y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ie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buil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endParaRPr lang="en-US" sz="12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mvn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 clean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tes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org.pitest:pitest-maven:mutationCoverage</a:t>
            </a:r>
            <a:endParaRPr lang="de-DE" kern="0" dirty="0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>
                <a:sym typeface="Wingdings" panose="05000000000000000000" pitchFamily="2" charset="2"/>
              </a:rPr>
              <a:t>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targe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\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pi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-repo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/>
              <a:t>Implementiere Tests, welche die Mutanten entdecken</a:t>
            </a:r>
          </a:p>
        </p:txBody>
      </p:sp>
    </p:spTree>
    <p:extLst>
      <p:ext uri="{BB962C8B-B14F-4D97-AF65-F5344CB8AC3E}">
        <p14:creationId xmlns:p14="http://schemas.microsoft.com/office/powerpoint/2010/main" val="32004134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E2DBED-0A90-42A7-86CD-859F8B73A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: merge, rebase und squash commi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11470D-A24F-445B-BC17-DC540D6CC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75CB6D-78F4-4776-8CA2-A661DFA3A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137B8EA-BC2F-48F8-91A1-80EF9E47F8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62" y="2415379"/>
            <a:ext cx="8982183" cy="3612224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EF0005-9CD8-4446-B6B2-938B80AACC27}"/>
              </a:ext>
            </a:extLst>
          </p:cNvPr>
          <p:cNvSpPr txBox="1">
            <a:spLocks/>
          </p:cNvSpPr>
          <p:nvPr/>
        </p:nvSpPr>
        <p:spPr>
          <a:xfrm>
            <a:off x="9402617" y="2139094"/>
            <a:ext cx="2669325" cy="388850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25560" rIns="0" bIns="0" numCol="1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400" b="1" kern="0" dirty="0" err="1"/>
              <a:t>Rebase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 err="1"/>
              <a:t>Rebase</a:t>
            </a:r>
            <a:r>
              <a:rPr lang="de-DE" sz="1400" kern="0" dirty="0"/>
              <a:t> erzeugt eine einfach (linear) lesbare Projekt/</a:t>
            </a:r>
            <a:r>
              <a:rPr lang="de-DE" sz="1400" kern="0" dirty="0" err="1"/>
              <a:t>git</a:t>
            </a:r>
            <a:r>
              <a:rPr lang="de-DE" sz="1400" kern="0" dirty="0"/>
              <a:t> </a:t>
            </a:r>
            <a:r>
              <a:rPr lang="de-DE" sz="1400" kern="0" dirty="0" err="1"/>
              <a:t>history</a:t>
            </a:r>
            <a:endParaRPr lang="de-DE" sz="1400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  <a:p>
            <a:pPr marL="92075"/>
            <a:r>
              <a:rPr lang="de-DE" sz="1400" b="1" kern="0" dirty="0" err="1"/>
              <a:t>Merge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 err="1"/>
              <a:t>Merge</a:t>
            </a:r>
            <a:r>
              <a:rPr lang="de-DE" sz="1400" kern="0" dirty="0"/>
              <a:t> erhält </a:t>
            </a:r>
            <a:r>
              <a:rPr lang="de-DE" sz="1400" kern="0" dirty="0" err="1"/>
              <a:t>branches</a:t>
            </a:r>
            <a:r>
              <a:rPr lang="de-DE" sz="1400" kern="0" dirty="0"/>
              <a:t> und deren Historie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Die Projekt/</a:t>
            </a:r>
            <a:r>
              <a:rPr lang="de-DE" sz="1400" kern="0" dirty="0" err="1"/>
              <a:t>git</a:t>
            </a:r>
            <a:r>
              <a:rPr lang="de-DE" sz="1400" kern="0" dirty="0"/>
              <a:t> </a:t>
            </a:r>
            <a:r>
              <a:rPr lang="de-DE" sz="1400" kern="0" dirty="0" err="1"/>
              <a:t>history</a:t>
            </a:r>
            <a:r>
              <a:rPr lang="de-DE" sz="1400" kern="0" dirty="0"/>
              <a:t> wird damit komplexer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  <a:p>
            <a:pPr marL="92075"/>
            <a:r>
              <a:rPr lang="de-DE" sz="1400" b="1" kern="0" dirty="0"/>
              <a:t>Squash </a:t>
            </a:r>
            <a:r>
              <a:rPr lang="de-DE" sz="1400" b="1" kern="0" dirty="0" err="1"/>
              <a:t>commit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Mit </a:t>
            </a:r>
            <a:r>
              <a:rPr lang="de-DE" sz="1400" kern="0" dirty="0" err="1"/>
              <a:t>squash</a:t>
            </a:r>
            <a:r>
              <a:rPr lang="de-DE" sz="1400" kern="0" dirty="0"/>
              <a:t> </a:t>
            </a:r>
            <a:r>
              <a:rPr lang="de-DE" sz="1400" kern="0" dirty="0" err="1"/>
              <a:t>commit</a:t>
            </a:r>
            <a:r>
              <a:rPr lang="de-DE" sz="1400" kern="0" dirty="0"/>
              <a:t> können nicht relevante Zwischen-schritte zusammen gezogen werden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22342053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E2DBED-0A90-42A7-86CD-859F8B73A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355609"/>
            <a:ext cx="7546079" cy="769441"/>
          </a:xfrm>
        </p:spPr>
        <p:txBody>
          <a:bodyPr/>
          <a:lstStyle/>
          <a:p>
            <a:r>
              <a:rPr lang="de-DE" dirty="0"/>
              <a:t>Sicherheitsnetz mit einer Fassade</a:t>
            </a:r>
            <a:br>
              <a:rPr lang="de-DE" dirty="0"/>
            </a:br>
            <a:r>
              <a:rPr lang="de-DE" dirty="0"/>
              <a:t>(Ziel: </a:t>
            </a:r>
            <a:r>
              <a:rPr lang="de-DE" dirty="0" err="1"/>
              <a:t>refactoring</a:t>
            </a:r>
            <a:r>
              <a:rPr lang="de-DE" dirty="0"/>
              <a:t>/</a:t>
            </a:r>
            <a:r>
              <a:rPr lang="de-DE" dirty="0" err="1"/>
              <a:t>redesign</a:t>
            </a:r>
            <a:r>
              <a:rPr lang="de-DE" dirty="0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11470D-A24F-445B-BC17-DC540D6CC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75CB6D-78F4-4776-8CA2-A661DFA3A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E35AE10-B4AC-4EE8-B630-6FBADC9BF244}"/>
              </a:ext>
            </a:extLst>
          </p:cNvPr>
          <p:cNvSpPr txBox="1">
            <a:spLocks/>
          </p:cNvSpPr>
          <p:nvPr/>
        </p:nvSpPr>
        <p:spPr>
          <a:xfrm>
            <a:off x="8493817" y="1274618"/>
            <a:ext cx="3597909" cy="52422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600" b="1" kern="0" dirty="0"/>
              <a:t>Sicherheitsnetz aufbau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Erstelle Arbeitshypothese: Ich will einen Test, der einen bestimmten Pfad in Komponente A berührt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Erstelle einen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, welche diesen Pfad berührt und bestätige dies durch </a:t>
            </a:r>
            <a:r>
              <a:rPr lang="de-DE" sz="1600" kern="0" dirty="0" err="1"/>
              <a:t>CodeCoverage</a:t>
            </a:r>
            <a:r>
              <a:rPr lang="de-DE" sz="1600" kern="0" dirty="0"/>
              <a:t>, Logs oder ähnliches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Reichere den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 hinreichend an (ggf. mit </a:t>
            </a:r>
            <a:r>
              <a:rPr lang="de-DE" sz="1600" kern="0" dirty="0" err="1"/>
              <a:t>mutation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 prüfen)</a:t>
            </a:r>
          </a:p>
          <a:p>
            <a:pPr marL="92075"/>
            <a:endParaRPr lang="de-DE" sz="1600" b="1" kern="0" dirty="0"/>
          </a:p>
          <a:p>
            <a:pPr marL="92075"/>
            <a:r>
              <a:rPr lang="de-DE" sz="1600" b="1" kern="0" dirty="0" err="1"/>
              <a:t>Refactoring</a:t>
            </a:r>
            <a:r>
              <a:rPr lang="de-DE" sz="1600" b="1" kern="0" dirty="0"/>
              <a:t> und </a:t>
            </a:r>
            <a:r>
              <a:rPr lang="de-DE" sz="1600" b="1" kern="0" dirty="0" err="1"/>
              <a:t>Redesign</a:t>
            </a:r>
            <a:endParaRPr lang="de-DE" sz="1600" b="1" kern="0" dirty="0"/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… bei ständigem grün des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endParaRPr lang="de-DE" sz="1600" kern="0" dirty="0"/>
          </a:p>
          <a:p>
            <a:pPr marL="92075"/>
            <a:endParaRPr lang="de-DE" sz="1600" kern="0" dirty="0"/>
          </a:p>
          <a:p>
            <a:pPr marL="92075"/>
            <a:r>
              <a:rPr lang="de-DE" sz="1600" b="1" kern="0" dirty="0"/>
              <a:t>Annahme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Fassade ist ein </a:t>
            </a:r>
            <a:r>
              <a:rPr lang="de-DE" sz="1600" kern="0" dirty="0" err="1">
                <a:hlinkClick r:id="rId2"/>
              </a:rPr>
              <a:t>HumbleObject</a:t>
            </a:r>
            <a:r>
              <a:rPr lang="de-DE" sz="1600" kern="0" dirty="0"/>
              <a:t> und muss als solches nicht besonderes beachtet werd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4DB2578-678A-4F2D-982C-AFF0B3E221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453" y="2301429"/>
            <a:ext cx="8097290" cy="301294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380DFAA-408E-4C7B-8B5E-586A1513DF55}"/>
              </a:ext>
            </a:extLst>
          </p:cNvPr>
          <p:cNvSpPr txBox="1">
            <a:spLocks/>
          </p:cNvSpPr>
          <p:nvPr/>
        </p:nvSpPr>
        <p:spPr>
          <a:xfrm>
            <a:off x="215453" y="5490754"/>
            <a:ext cx="8097290" cy="1242556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25560" rIns="0" bIns="0" numCol="1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400" b="1" kern="0" dirty="0"/>
              <a:t>Ideen für </a:t>
            </a:r>
            <a:r>
              <a:rPr lang="de-DE" sz="1400" b="1" kern="0" dirty="0" err="1"/>
              <a:t>Refactoring</a:t>
            </a:r>
            <a:r>
              <a:rPr lang="de-DE" sz="1400" b="1" kern="0" dirty="0"/>
              <a:t> und </a:t>
            </a:r>
            <a:r>
              <a:rPr lang="de-DE" sz="1400" b="1" kern="0" dirty="0" err="1"/>
              <a:t>Redesign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„Extract Class“ </a:t>
            </a:r>
            <a:r>
              <a:rPr lang="de-DE" sz="1400" kern="0" dirty="0">
                <a:sym typeface="Wingdings" panose="05000000000000000000" pitchFamily="2" charset="2"/>
              </a:rPr>
              <a:t> Zuviel Funktionalität aus der Fassade entfernen und in eine eigene Klasse extrahieren. Diese Detail-Klasse kann gezielt und qualitätsgesichert getestet werden.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>
                <a:sym typeface="Wingdings" panose="05000000000000000000" pitchFamily="2" charset="2"/>
              </a:rPr>
              <a:t>Sobald die Fassade keine spezifische Funktionalität mehr enthält, durch eine „dumme“ Bibliothek ersetzten. Diese soll eine einfache Transformation von links nach rechts durchführen.</a:t>
            </a: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38191962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97" b="19197"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Gilded</a:t>
            </a:r>
            <a:r>
              <a:rPr lang="de-DE" dirty="0"/>
              <a:t> Ros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 Einfacher </a:t>
            </a:r>
            <a:r>
              <a:rPr lang="de-DE" dirty="0" err="1"/>
              <a:t>Seam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println_seam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println_seam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Object </a:t>
            </a:r>
            <a:r>
              <a:rPr lang="en-US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mess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messag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26372CBF-4629-4C2C-A98A-B26D5A2DC414}"/>
              </a:ext>
            </a:extLst>
          </p:cNvPr>
          <p:cNvSpPr txBox="1">
            <a:spLocks/>
          </p:cNvSpPr>
          <p:nvPr/>
        </p:nvSpPr>
        <p:spPr>
          <a:xfrm>
            <a:off x="6659640" y="4147127"/>
            <a:ext cx="5193270" cy="2022655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häufig </a:t>
            </a:r>
            <a:r>
              <a:rPr lang="en-US" sz="18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de-DE" kern="0" dirty="0"/>
              <a:t> oder </a:t>
            </a:r>
            <a:r>
              <a:rPr lang="en-US" sz="18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ein erster Schritt in Richtung </a:t>
            </a:r>
            <a:r>
              <a:rPr lang="de-DE" b="1" kern="0" dirty="0" err="1"/>
              <a:t>dependency</a:t>
            </a:r>
            <a:r>
              <a:rPr lang="de-DE" b="1" kern="0" dirty="0"/>
              <a:t> </a:t>
            </a:r>
            <a:r>
              <a:rPr lang="de-DE" b="1" kern="0" dirty="0" err="1"/>
              <a:t>breaking</a:t>
            </a:r>
            <a:endParaRPr lang="de-DE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ein erster Schritt in Richtung </a:t>
            </a:r>
            <a:r>
              <a:rPr lang="de-DE" b="1" kern="0" dirty="0" err="1"/>
              <a:t>redesign</a:t>
            </a:r>
            <a:endParaRPr lang="de-DE" b="1" kern="0" dirty="0"/>
          </a:p>
        </p:txBody>
      </p:sp>
    </p:spTree>
    <p:extLst>
      <p:ext uri="{BB962C8B-B14F-4D97-AF65-F5344CB8AC3E}">
        <p14:creationId xmlns:p14="http://schemas.microsoft.com/office/powerpoint/2010/main" val="2058096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84</Words>
  <Application>Microsoft Office PowerPoint</Application>
  <PresentationFormat>Benutzerdefiniert</PresentationFormat>
  <Paragraphs>759</Paragraphs>
  <Slides>4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5</vt:i4>
      </vt:variant>
    </vt:vector>
  </HeadingPairs>
  <TitlesOfParts>
    <vt:vector size="53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Ein Einfacher Seam</vt:lpstr>
      <vt:lpstr>Seams und Golden master</vt:lpstr>
      <vt:lpstr>Key 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Was ist feature Envy?</vt:lpstr>
      <vt:lpstr>Feature envy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Code Coverage</vt:lpstr>
      <vt:lpstr>Was ist Code Coverage?</vt:lpstr>
      <vt:lpstr>Einfache Code Coverage</vt:lpstr>
      <vt:lpstr>Schreibe einen Unittest mithilfe von Code Coverage</vt:lpstr>
      <vt:lpstr>Vorgehen, Vorteile und Nachteile</vt:lpstr>
      <vt:lpstr>Wie gut ist unsere test suite?</vt:lpstr>
      <vt:lpstr>Mutation testing</vt:lpstr>
      <vt:lpstr>GIT: merge, rebase und squash commit</vt:lpstr>
      <vt:lpstr>Sicherheitsnetz mit einer Fassade (Ziel: refactoring/redesign)</vt:lpstr>
      <vt:lpstr>Alles Zusammen</vt:lpstr>
      <vt:lpstr>Gilded Ros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246</cp:revision>
  <dcterms:created xsi:type="dcterms:W3CDTF">2019-07-01T16:47:04Z</dcterms:created>
  <dcterms:modified xsi:type="dcterms:W3CDTF">2021-07-02T09:18:54Z</dcterms:modified>
</cp:coreProperties>
</file>